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8" r:id="rId2"/>
  </p:sldMasterIdLst>
  <p:notesMasterIdLst>
    <p:notesMasterId r:id="rId9"/>
  </p:notesMasterIdLst>
  <p:handoutMasterIdLst>
    <p:handoutMasterId r:id="rId10"/>
  </p:handoutMasterIdLst>
  <p:sldIdLst>
    <p:sldId id="720" r:id="rId3"/>
    <p:sldId id="707" r:id="rId4"/>
    <p:sldId id="708" r:id="rId5"/>
    <p:sldId id="709" r:id="rId6"/>
    <p:sldId id="719" r:id="rId7"/>
    <p:sldId id="705" r:id="rId8"/>
  </p:sldIdLst>
  <p:sldSz cx="9144000" cy="6858000" type="screen4x3"/>
  <p:notesSz cx="7315200" cy="96012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puto, Steven" initials="CS" lastIdx="2" clrIdx="0"/>
  <p:cmAuthor id="1" name="william solecki" initials="WS" lastIdx="1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00BF"/>
    <a:srgbClr val="2C69B2"/>
    <a:srgbClr val="2962A7"/>
    <a:srgbClr val="6792C5"/>
    <a:srgbClr val="EDF2F9"/>
    <a:srgbClr val="E5F5FF"/>
    <a:srgbClr val="E9EDF4"/>
    <a:srgbClr val="FFEEB7"/>
    <a:srgbClr val="E9EFF7"/>
    <a:srgbClr val="C7E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9820" autoAdjust="0"/>
    <p:restoredTop sz="85385" autoAdjust="0"/>
  </p:normalViewPr>
  <p:slideViewPr>
    <p:cSldViewPr snapToGrid="0" snapToObjects="1">
      <p:cViewPr varScale="1">
        <p:scale>
          <a:sx n="84" d="100"/>
          <a:sy n="84" d="100"/>
        </p:scale>
        <p:origin x="1687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-3180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" y="7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/>
          <a:lstStyle>
            <a:lvl1pPr algn="l">
              <a:defRPr sz="1300"/>
            </a:lvl1pPr>
          </a:lstStyle>
          <a:p>
            <a:endParaRPr lang="en-US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74" y="7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/>
          <a:lstStyle>
            <a:lvl1pPr algn="r">
              <a:defRPr sz="1300"/>
            </a:lvl1pPr>
          </a:lstStyle>
          <a:p>
            <a:fld id="{56482BED-5D43-4DD9-9D27-F6C156BEBFD5}" type="datetimeFigureOut">
              <a:rPr lang="en-US" smtClean="0">
                <a:latin typeface="Arial"/>
              </a:rPr>
              <a:pPr/>
              <a:t>10/11/2017</a:t>
            </a:fld>
            <a:endParaRPr lang="en-US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1" y="9119176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 anchor="b"/>
          <a:lstStyle>
            <a:lvl1pPr algn="l">
              <a:defRPr sz="1300"/>
            </a:lvl1pPr>
          </a:lstStyle>
          <a:p>
            <a:endParaRPr lang="en-US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74" y="9119176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 anchor="b"/>
          <a:lstStyle>
            <a:lvl1pPr algn="r">
              <a:defRPr sz="1300"/>
            </a:lvl1pPr>
          </a:lstStyle>
          <a:p>
            <a:fld id="{BC83EDA2-A098-4069-A034-7B5EE9FD3639}" type="slidenum">
              <a:rPr lang="en-US" smtClean="0">
                <a:latin typeface="Arial"/>
              </a:rPr>
              <a:pPr/>
              <a:t>‹#›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83005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" y="7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/>
          <a:lstStyle>
            <a:lvl1pPr algn="l">
              <a:defRPr sz="1300"/>
            </a:lvl1pPr>
          </a:lstStyle>
          <a:p>
            <a:endParaRPr lang="en-US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2974" y="7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/>
          <a:lstStyle>
            <a:lvl1pPr algn="r">
              <a:defRPr sz="1300"/>
            </a:lvl1pPr>
          </a:lstStyle>
          <a:p>
            <a:fld id="{D618DA5A-9CF5-4E03-944F-F3277E95DA90}" type="datetimeFigureOut">
              <a:rPr lang="en-US" smtClean="0">
                <a:latin typeface="Arial"/>
              </a:rPr>
              <a:pPr/>
              <a:t>10/11/2017</a:t>
            </a:fld>
            <a:endParaRPr lang="en-US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7" tIns="47382" rIns="94767" bIns="47382" rtlCol="0" anchor="ctr"/>
          <a:lstStyle/>
          <a:p>
            <a:endParaRPr lang="en-US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2192" y="4561233"/>
            <a:ext cx="5850835" cy="4320213"/>
          </a:xfrm>
          <a:prstGeom prst="rect">
            <a:avLst/>
          </a:prstGeom>
        </p:spPr>
        <p:txBody>
          <a:bodyPr vert="horz" lIns="94767" tIns="47382" rIns="94767" bIns="4738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9119176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 anchor="b"/>
          <a:lstStyle>
            <a:lvl1pPr algn="l">
              <a:defRPr sz="1300"/>
            </a:lvl1pPr>
          </a:lstStyle>
          <a:p>
            <a:endParaRPr lang="en-US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2974" y="9119176"/>
            <a:ext cx="3170583" cy="480389"/>
          </a:xfrm>
          <a:prstGeom prst="rect">
            <a:avLst/>
          </a:prstGeom>
        </p:spPr>
        <p:txBody>
          <a:bodyPr vert="horz" lIns="94767" tIns="47382" rIns="94767" bIns="47382" rtlCol="0" anchor="b"/>
          <a:lstStyle>
            <a:lvl1pPr algn="r">
              <a:defRPr sz="1300"/>
            </a:lvl1pPr>
          </a:lstStyle>
          <a:p>
            <a:fld id="{D981A24E-FE3F-47F7-B39E-989D5C851F37}" type="slidenum">
              <a:rPr lang="en-US" smtClean="0">
                <a:latin typeface="Arial"/>
              </a:rPr>
              <a:pPr/>
              <a:t>‹#›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7876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file://localhost/Users/jasonrodriguez/Projects/Power%20Points/FINAL%20Template/images/images/CoverSlide_Header_01.png" TargetMode="Externa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28600" y="78804"/>
            <a:ext cx="8686800" cy="307777"/>
          </a:xfrm>
        </p:spPr>
        <p:txBody>
          <a:bodyPr lIns="0" tIns="0" rIns="0" bIns="0" anchor="t">
            <a:noAutofit/>
          </a:bodyPr>
          <a:lstStyle>
            <a:lvl1pPr algn="l">
              <a:defRPr sz="2000" b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28600" y="1600200"/>
            <a:ext cx="8229600" cy="4525963"/>
          </a:xfrm>
        </p:spPr>
        <p:txBody>
          <a:bodyPr>
            <a:normAutofit/>
          </a:bodyPr>
          <a:lstStyle>
            <a:lvl1pPr marL="233363" indent="-233363"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1pPr>
            <a:lvl2pPr marL="398463" indent="-223838">
              <a:defRPr sz="1400">
                <a:latin typeface="Arial" pitchFamily="34" charset="0"/>
                <a:cs typeface="Arial" pitchFamily="34" charset="0"/>
              </a:defRPr>
            </a:lvl2pPr>
            <a:lvl3pPr marL="685800" indent="-228600"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D1A75317-4830-43F3-808A-863C1F9CB817}" type="datetime1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 rot="16200000">
            <a:off x="8589830" y="3449782"/>
            <a:ext cx="866584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dirty="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raft confidential</a:t>
            </a:r>
            <a:endParaRPr lang="en-US" sz="800" dirty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28600" y="428526"/>
            <a:ext cx="9066402" cy="0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8DC97-1000-4224-A7A9-7A1FA6EFF709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9C6FE9-413F-4A88-9C47-5FCB8A86C92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0732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mpus Aeri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23825" y="1364341"/>
            <a:ext cx="5776232" cy="20102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latin typeface="Century Gothic"/>
                <a:cs typeface="Century Gothic"/>
              </a:defRPr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Presentation Title Line 1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Presentation Title Line 2</a:t>
            </a:r>
            <a:endParaRPr lang="en-US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15888" y="4898571"/>
            <a:ext cx="5784169" cy="1256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Century Gothic"/>
                <a:cs typeface="Century Gothic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Name</a:t>
            </a:r>
            <a:br>
              <a:rPr lang="en-US" dirty="0"/>
            </a:br>
            <a:r>
              <a:rPr lang="en-US" dirty="0"/>
              <a:t>Presenter’s Title</a:t>
            </a:r>
            <a:br>
              <a:rPr lang="en-US" dirty="0"/>
            </a:br>
            <a:r>
              <a:rPr lang="en-US" dirty="0"/>
              <a:t>Presenter’s Department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123825" y="3512457"/>
            <a:ext cx="5776232" cy="12046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 baseline="0">
                <a:latin typeface="Century Gothic"/>
                <a:cs typeface="Century Gothic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Subtitle Line 1</a:t>
            </a:r>
            <a:br>
              <a:rPr lang="en-US" dirty="0"/>
            </a:br>
            <a:r>
              <a:rPr lang="en-US" dirty="0"/>
              <a:t>Subtitle Line 2</a:t>
            </a:r>
          </a:p>
        </p:txBody>
      </p:sp>
      <p:pic>
        <p:nvPicPr>
          <p:cNvPr id="15" name="CoverSlide_Header_01.png" descr="/Users/jasonrodriguez/Projects/Power Points/FINAL Template/images/images/CoverSlide_Header_01.png"/>
          <p:cNvPicPr>
            <a:picLocks noChangeAspect="1"/>
          </p:cNvPicPr>
          <p:nvPr userDrawn="1"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975360"/>
          </a:xfrm>
          <a:prstGeom prst="rect">
            <a:avLst/>
          </a:prstGeom>
        </p:spPr>
      </p:pic>
      <p:pic>
        <p:nvPicPr>
          <p:cNvPr id="16" name="Picture 15" descr="CoverSlide_Footer_03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72784"/>
            <a:ext cx="9144000" cy="585216"/>
          </a:xfrm>
          <a:prstGeom prst="rect">
            <a:avLst/>
          </a:prstGeom>
        </p:spPr>
      </p:pic>
      <p:pic>
        <p:nvPicPr>
          <p:cNvPr id="17" name="Picture 16" descr="Stevens-Official-PMSColor-R.ep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57" y="283029"/>
            <a:ext cx="1934029" cy="828870"/>
          </a:xfrm>
          <a:prstGeom prst="rect">
            <a:avLst/>
          </a:prstGeom>
        </p:spPr>
      </p:pic>
      <p:sp>
        <p:nvSpPr>
          <p:cNvPr id="19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6047030" y="6520372"/>
            <a:ext cx="2938212" cy="20110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287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12759FB6-3D24-4E53-91DC-313A303453DF}" type="datetime1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9034D3D7-7524-4AA1-AF92-6DB98051A46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4" r:id="rId2"/>
    <p:sldLayoutId id="2147483685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F6A327-29A1-4C0B-85F2-E1317FA6F7BE}" type="datetimeFigureOut">
              <a:rPr lang="en-US" smtClean="0"/>
              <a:pPr/>
              <a:t>10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7FFA33-7004-4BC2-AA20-9C7CF55157B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ngeorgas@stevens.edu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98990" y="1651750"/>
            <a:ext cx="4714120" cy="2092286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dirty="0" smtClean="0"/>
              <a:t>Mid-Atlantic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dirty="0" smtClean="0"/>
              <a:t>Sea Level Rise &amp;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altLang="zh-CN" dirty="0" smtClean="0"/>
              <a:t>Coastal Development</a:t>
            </a:r>
            <a:endParaRPr lang="en-US" altLang="zh-CN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59386" y="3966880"/>
            <a:ext cx="5593976" cy="1616356"/>
          </a:xfrm>
        </p:spPr>
        <p:txBody>
          <a:bodyPr/>
          <a:lstStyle/>
          <a:p>
            <a:r>
              <a:rPr lang="en-GB" dirty="0"/>
              <a:t>Philip </a:t>
            </a:r>
            <a:r>
              <a:rPr lang="en-GB" dirty="0" smtClean="0"/>
              <a:t>Orton, Research </a:t>
            </a:r>
            <a:r>
              <a:rPr lang="en-GB" dirty="0"/>
              <a:t>Assistant Professor</a:t>
            </a:r>
            <a:endParaRPr lang="en-GB" dirty="0" smtClean="0"/>
          </a:p>
          <a:p>
            <a:r>
              <a:rPr lang="en-GB" altLang="zh-CN" dirty="0"/>
              <a:t>Stevens Institute of </a:t>
            </a:r>
            <a:r>
              <a:rPr lang="en-GB" altLang="zh-CN" dirty="0" smtClean="0"/>
              <a:t>Technology</a:t>
            </a:r>
            <a:endParaRPr lang="zh-CN" altLang="zh-CN" dirty="0"/>
          </a:p>
        </p:txBody>
      </p:sp>
      <p:sp>
        <p:nvSpPr>
          <p:cNvPr id="4" name="Rectangle 3"/>
          <p:cNvSpPr/>
          <p:nvPr/>
        </p:nvSpPr>
        <p:spPr>
          <a:xfrm>
            <a:off x="47636" y="6488668"/>
            <a:ext cx="8508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hlinkClick r:id="rId2"/>
              </a:rPr>
              <a:t>porton@stevens.edu</a:t>
            </a:r>
            <a:r>
              <a:rPr lang="en-US" altLang="zh-CN" dirty="0"/>
              <a:t>; </a:t>
            </a:r>
            <a:r>
              <a:rPr lang="en-US" altLang="zh-CN" dirty="0" smtClean="0"/>
              <a:t>Davidson Laboratory; Stevens </a:t>
            </a:r>
            <a:r>
              <a:rPr lang="en-US" altLang="zh-CN" dirty="0"/>
              <a:t>Institute of Technology, Hoboken, NJ</a:t>
            </a:r>
            <a:endParaRPr lang="zh-CN" altLang="zh-CN" dirty="0"/>
          </a:p>
        </p:txBody>
      </p:sp>
    </p:spTree>
    <p:extLst>
      <p:ext uri="{BB962C8B-B14F-4D97-AF65-F5344CB8AC3E}">
        <p14:creationId xmlns:p14="http://schemas.microsoft.com/office/powerpoint/2010/main" val="313456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9C6FE9-413F-4A88-9C47-5FCB8A86C924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65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9C6FE9-413F-4A88-9C47-5FCB8A86C924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92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9C6FE9-413F-4A88-9C47-5FCB8A86C924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11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9C6FE9-413F-4A88-9C47-5FCB8A86C924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8347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8160"/>
            <a:ext cx="8229600" cy="1143000"/>
          </a:xfrm>
        </p:spPr>
        <p:txBody>
          <a:bodyPr/>
          <a:lstStyle/>
          <a:p>
            <a:r>
              <a:rPr lang="en-US" dirty="0" smtClean="0"/>
              <a:t>Conclusions, Recommend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855" y="1381247"/>
            <a:ext cx="8751076" cy="5378946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/>
              <a:t>A short-term perspective on the impact of </a:t>
            </a:r>
            <a:r>
              <a:rPr lang="en-US" dirty="0" smtClean="0"/>
              <a:t>SLR between 2017 and 2030 is </a:t>
            </a:r>
            <a:r>
              <a:rPr lang="en-US" dirty="0"/>
              <a:t>that it will not yet be an economic game changer </a:t>
            </a:r>
            <a:endParaRPr lang="en-US" dirty="0" smtClean="0"/>
          </a:p>
          <a:p>
            <a:pPr>
              <a:lnSpc>
                <a:spcPct val="120000"/>
              </a:lnSpc>
            </a:pPr>
            <a:r>
              <a:rPr lang="en-US" dirty="0" smtClean="0"/>
              <a:t>There </a:t>
            </a:r>
            <a:r>
              <a:rPr lang="en-US" dirty="0"/>
              <a:t>is a clear risk that human-caused sea level rise will accelerate and devastate coastal </a:t>
            </a:r>
            <a:r>
              <a:rPr lang="en-US" dirty="0" smtClean="0"/>
              <a:t>areas of the Mid-Atlantic, </a:t>
            </a:r>
            <a:r>
              <a:rPr lang="en-US" dirty="0"/>
              <a:t>leaving </a:t>
            </a:r>
            <a:r>
              <a:rPr lang="en-US" dirty="0" smtClean="0"/>
              <a:t>it completely </a:t>
            </a:r>
            <a:r>
              <a:rPr lang="en-US" dirty="0"/>
              <a:t>different from the </a:t>
            </a:r>
            <a:r>
              <a:rPr lang="en-US" dirty="0" smtClean="0"/>
              <a:t>present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Coastal </a:t>
            </a:r>
            <a:r>
              <a:rPr lang="en-US" dirty="0"/>
              <a:t>municipalities or states should prepare adaptation </a:t>
            </a:r>
            <a:r>
              <a:rPr lang="en-US" dirty="0" smtClean="0"/>
              <a:t>plans for 1 and 3 feet of sea level rise</a:t>
            </a:r>
            <a:r>
              <a:rPr lang="en-US" dirty="0"/>
              <a:t> </a:t>
            </a:r>
          </a:p>
          <a:p>
            <a:pPr>
              <a:lnSpc>
                <a:spcPct val="120000"/>
              </a:lnSpc>
            </a:pPr>
            <a:r>
              <a:rPr lang="en-US" dirty="0"/>
              <a:t>To reduce these impacts I recommend everyone work to reduce greenhouse gas </a:t>
            </a:r>
            <a:r>
              <a:rPr lang="en-US" dirty="0" smtClean="0"/>
              <a:t>emissions </a:t>
            </a:r>
            <a:endParaRPr lang="en-US" dirty="0"/>
          </a:p>
          <a:p>
            <a:pPr lvl="1">
              <a:lnSpc>
                <a:spcPct val="120000"/>
              </a:lnSpc>
            </a:pPr>
            <a:r>
              <a:rPr lang="en-US" dirty="0"/>
              <a:t>In the near-term this will not have a noticeable impact </a:t>
            </a:r>
          </a:p>
          <a:p>
            <a:pPr lvl="1">
              <a:lnSpc>
                <a:spcPct val="120000"/>
              </a:lnSpc>
            </a:pPr>
            <a:r>
              <a:rPr lang="en-US" dirty="0"/>
              <a:t>However, in the long-term, and with respect to the “existential threat” of </a:t>
            </a:r>
            <a:r>
              <a:rPr lang="en-US" dirty="0" smtClean="0"/>
              <a:t>SLR, this can help avoid the worst impacts </a:t>
            </a:r>
          </a:p>
          <a:p>
            <a:pPr lvl="1">
              <a:lnSpc>
                <a:spcPct val="120000"/>
              </a:lnSpc>
            </a:pPr>
            <a:r>
              <a:rPr lang="en-US" dirty="0" smtClean="0"/>
              <a:t>Raises the odds of passing along a Mid-Atlantic Shore similar to the one we know, for future gener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297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8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acHLJGoEedX8vAz2H.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ulFj9ZcUOTIW4TYp9P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4L7ttD7ke9h_iQLFJU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8.mMmsEq0FVEKKPgN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jJI.1kE.6apNbhhL.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95KU_2ke796Xzj._G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SXTAOe7EutnAYNTjLv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N8e_Z4rkmNNHRa6TDV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.YnhRyT0udmLJZ.j4uO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rtlCol="0">
        <a:spAutoFit/>
      </a:bodyPr>
      <a:lstStyle>
        <a:defPPr>
          <a:defRPr sz="12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188842</TotalTime>
  <Words>105</Words>
  <Application>Microsoft Office PowerPoint</Application>
  <PresentationFormat>On-screen Show (4:3)</PresentationFormat>
  <Paragraphs>1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宋体</vt:lpstr>
      <vt:lpstr>Arial</vt:lpstr>
      <vt:lpstr>Calibri</vt:lpstr>
      <vt:lpstr>Century Gothic</vt:lpstr>
      <vt:lpstr>Wingdings</vt:lpstr>
      <vt:lpstr>Office Theme</vt:lpstr>
      <vt:lpstr>Custom Design</vt:lpstr>
      <vt:lpstr>think-cell Slide</vt:lpstr>
      <vt:lpstr>PowerPoint Presentation</vt:lpstr>
      <vt:lpstr>PowerPoint Presentation</vt:lpstr>
      <vt:lpstr>PowerPoint Presentation</vt:lpstr>
      <vt:lpstr>v</vt:lpstr>
      <vt:lpstr>PowerPoint Presentation</vt:lpstr>
      <vt:lpstr>Conclusions, Recommendations</vt:lpstr>
    </vt:vector>
  </TitlesOfParts>
  <Company>Office of the Mayo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 anticipate that climate change will create five main hazards</dc:title>
  <dc:creator>Levan Nadibaidze</dc:creator>
  <cp:lastModifiedBy>Philip Orton</cp:lastModifiedBy>
  <cp:revision>10865</cp:revision>
  <cp:lastPrinted>2016-04-26T12:10:13Z</cp:lastPrinted>
  <dcterms:created xsi:type="dcterms:W3CDTF">2013-03-22T01:24:36Z</dcterms:created>
  <dcterms:modified xsi:type="dcterms:W3CDTF">2017-10-11T22:57:39Z</dcterms:modified>
</cp:coreProperties>
</file>